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8" r:id="rId2"/>
    <p:sldId id="265" r:id="rId3"/>
    <p:sldId id="276" r:id="rId4"/>
    <p:sldId id="266" r:id="rId5"/>
    <p:sldId id="277" r:id="rId6"/>
    <p:sldId id="275" r:id="rId7"/>
    <p:sldId id="273" r:id="rId8"/>
    <p:sldId id="271" r:id="rId9"/>
    <p:sldId id="272" r:id="rId10"/>
    <p:sldId id="280" r:id="rId11"/>
    <p:sldId id="267" r:id="rId12"/>
    <p:sldId id="268" r:id="rId13"/>
    <p:sldId id="269" r:id="rId14"/>
    <p:sldId id="270" r:id="rId15"/>
    <p:sldId id="278" r:id="rId16"/>
    <p:sldId id="279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8"/>
    <p:restoredTop sz="94643"/>
  </p:normalViewPr>
  <p:slideViewPr>
    <p:cSldViewPr snapToGrid="0" showGuides="1">
      <p:cViewPr>
        <p:scale>
          <a:sx n="75" d="100"/>
          <a:sy n="75" d="100"/>
        </p:scale>
        <p:origin x="2144" y="50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1/09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E7AF71-4B4B-43FF-95B3-873E90AD12BE}" type="datetimeFigureOut">
              <a:rPr lang="en-US" smtClean="0"/>
              <a:t>9/21/17</a:t>
            </a:fld>
            <a:endParaRPr lang="en-US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BA930F-828D-433B-AC16-1326F3071C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993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Fel i indata </a:t>
            </a:r>
            <a:r>
              <a:rPr lang="mr-IN" dirty="0" smtClean="0"/>
              <a:t>–</a:t>
            </a:r>
            <a:r>
              <a:rPr lang="sv-SE" dirty="0" smtClean="0"/>
              <a:t> begränsad </a:t>
            </a:r>
            <a:r>
              <a:rPr lang="sv-SE" dirty="0" err="1" smtClean="0"/>
              <a:t>noggranhet</a:t>
            </a:r>
            <a:r>
              <a:rPr lang="sv-SE" dirty="0" smtClean="0"/>
              <a:t> eller reella tal som måste approximeras</a:t>
            </a:r>
          </a:p>
          <a:p>
            <a:r>
              <a:rPr lang="sv-SE" dirty="0" smtClean="0"/>
              <a:t>Trunkeringsfel</a:t>
            </a:r>
            <a:r>
              <a:rPr lang="sv-SE" baseline="0" dirty="0" smtClean="0"/>
              <a:t> </a:t>
            </a:r>
            <a:r>
              <a:rPr lang="mr-IN" baseline="0" dirty="0" smtClean="0"/>
              <a:t>–</a:t>
            </a:r>
            <a:r>
              <a:rPr lang="sv-SE" baseline="0" dirty="0" smtClean="0"/>
              <a:t> Oändlig process ersätts med en ändlig </a:t>
            </a:r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BA930F-828D-433B-AC16-1326F3071C9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066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E070A831-A660-4218-AFA6-1EB1B35CA31B}" type="datetime1">
              <a:rPr lang="sv-SE" smtClean="0"/>
              <a:t>2017-09-21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6261BDD3-C0B3-4886-BD53-88057D6ED55A}" type="datetime1">
              <a:rPr lang="sv-SE" smtClean="0"/>
              <a:t>2017-09-21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AA88B1BD-1E56-4B08-8ADB-FD89B4FB68B3}" type="datetime1">
              <a:rPr lang="sv-SE" smtClean="0"/>
              <a:t>2017-09-2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2B80763-34D9-4E53-BC61-2475D146BDCC}" type="datetime1">
              <a:rPr lang="sv-SE" smtClean="0"/>
              <a:t>2017-09-2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116C7DC-A8AA-473F-B17C-C8F6E7CC4F05}" type="datetime1">
              <a:rPr lang="sv-SE" smtClean="0"/>
              <a:t>2017-09-21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60A681A-CC32-4946-B94F-D76040F9B768}" type="datetime1">
              <a:rPr lang="sv-SE" smtClean="0"/>
              <a:t>2017-09-2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EAA39C2A-8307-402E-A19F-0E5D5D5B23B2}" type="datetime1">
              <a:rPr lang="sv-SE" smtClean="0"/>
              <a:t>2017-09-2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1FC0F1A-F211-4D66-B81F-CC8DEEE91513}" type="datetime1">
              <a:rPr lang="sv-SE" smtClean="0"/>
              <a:t>2017-09-21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B6940FDA-E7AD-42D8-B8FE-3597636AD912}" type="datetime1">
              <a:rPr lang="sv-SE" smtClean="0"/>
              <a:t>2017-09-21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3" Type="http://schemas.openxmlformats.org/officeDocument/2006/relationships/image" Target="../media/image5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Matematematisk Modellering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Anders Västberg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Några exempel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sv-SE" dirty="0" smtClean="0"/>
              <a:t>Trafikflöde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Fallande mynt från </a:t>
            </a:r>
            <a:r>
              <a:rPr lang="sv-SE" dirty="0" smtClean="0"/>
              <a:t>Eiffeltornet</a:t>
            </a:r>
          </a:p>
          <a:p>
            <a:pPr marL="342900" indent="-342900">
              <a:buFont typeface="Arial" charset="0"/>
              <a:buChar char="•"/>
            </a:pPr>
            <a:r>
              <a:rPr lang="sv-SE" smtClean="0"/>
              <a:t>Kurvanpassning </a:t>
            </a:r>
            <a:r>
              <a:rPr lang="sv-SE" dirty="0" smtClean="0"/>
              <a:t>till data</a:t>
            </a:r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66849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 dirty="0" smtClean="0"/>
              <a:t>Talrepresentation i en dator</a:t>
            </a:r>
            <a:endParaRPr lang="sv-SE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Vanliga talsystemet har basen 10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Datorer använder binära tal:</a:t>
                </a:r>
              </a:p>
              <a:p>
                <a:pPr marL="698500" lvl="1" indent="-342900"/>
                <a:r>
                  <a:rPr lang="sv-SE" noProof="0" dirty="0" smtClean="0"/>
                  <a:t>Tal med basen 2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Heltal kan identiskt representeras i båda baserna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/>
                  <a:t>Exempel talet </a:t>
                </a:r>
                <a14:m>
                  <m:oMath xmlns:m="http://schemas.openxmlformats.org/officeDocument/2006/math">
                    <m:r>
                      <a:rPr lang="sv-SE" b="0" i="1" noProof="0" smtClean="0">
                        <a:latin typeface="Cambria Math" charset="0"/>
                      </a:rPr>
                      <m:t>14=</m:t>
                    </m:r>
                    <m:sSub>
                      <m:sSubPr>
                        <m:ctrlPr>
                          <a:rPr lang="en-US" b="0" i="1" noProof="0" smtClean="0">
                            <a:latin typeface="Cambria Math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mr-IN" b="0" i="1" noProof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sv-SE" b="0" i="1" noProof="0" smtClean="0">
                                <a:latin typeface="Cambria Math" charset="0"/>
                              </a:rPr>
                              <m:t>14</m:t>
                            </m:r>
                          </m:e>
                        </m:d>
                      </m:e>
                      <m:sub>
                        <m:r>
                          <a:rPr lang="sv-SE" b="0" i="1" noProof="0" smtClean="0">
                            <a:latin typeface="Cambria Math" charset="0"/>
                          </a:rPr>
                          <m:t>10</m:t>
                        </m:r>
                      </m:sub>
                    </m:sSub>
                    <m:r>
                      <a:rPr lang="sv-SE" b="0" i="1" noProof="0" smtClean="0">
                        <a:latin typeface="Cambria Math" charset="0"/>
                      </a:rPr>
                      <m:t>=</m:t>
                    </m:r>
                    <m:sSub>
                      <m:sSubPr>
                        <m:ctrlPr>
                          <a:rPr lang="en-US" b="0" i="1" noProof="0" smtClean="0">
                            <a:latin typeface="Cambria Math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mr-IN" b="0" i="1" noProof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sv-SE" b="0" i="1" noProof="0" smtClean="0">
                                <a:latin typeface="Cambria Math" charset="0"/>
                              </a:rPr>
                              <m:t>1110</m:t>
                            </m:r>
                          </m:e>
                        </m:d>
                      </m:e>
                      <m:sub>
                        <m:r>
                          <a:rPr lang="sv-SE" b="0" i="1" noProof="0" smtClean="0">
                            <a:latin typeface="Cambria Math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sv-SE" noProof="0" dirty="0" smtClean="0"/>
                  <a:t>:</a:t>
                </a:r>
                <a:endParaRPr lang="sv-SE" noProof="0" dirty="0"/>
              </a:p>
              <a:p>
                <a:pPr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i="1" noProof="0">
                          <a:latin typeface="Cambria Math"/>
                        </a:rPr>
                        <m:t>1</m:t>
                      </m:r>
                      <m:r>
                        <a:rPr lang="sv-SE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10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1</m:t>
                          </m:r>
                        </m:sup>
                      </m:sSup>
                      <m:r>
                        <a:rPr lang="sv-SE" i="1" noProof="0">
                          <a:latin typeface="Cambria Math"/>
                          <a:ea typeface="Cambria Math"/>
                        </a:rPr>
                        <m:t>+4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10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0</m:t>
                          </m:r>
                        </m:sup>
                      </m:sSup>
                    </m:oMath>
                  </m:oMathPara>
                </a14:m>
                <a:endParaRPr lang="sv-SE" i="1" noProof="0" dirty="0">
                  <a:latin typeface="Cambria Math"/>
                  <a:ea typeface="Cambria Math"/>
                </a:endParaRPr>
              </a:p>
              <a:p>
                <a:pPr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0" i="1" noProof="0" smtClean="0">
                          <a:latin typeface="Cambria Math"/>
                        </a:rPr>
                        <m:t>1110=</m:t>
                      </m:r>
                      <m:r>
                        <a:rPr lang="sv-SE" i="1" noProof="0">
                          <a:latin typeface="Cambria Math"/>
                        </a:rPr>
                        <m:t>1</m:t>
                      </m:r>
                      <m:r>
                        <a:rPr lang="sv-SE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3</m:t>
                          </m:r>
                        </m:sup>
                      </m:sSup>
                      <m:r>
                        <a:rPr lang="sv-SE" i="1" noProof="0">
                          <a:latin typeface="Cambria Math"/>
                          <a:ea typeface="Cambria Math"/>
                        </a:rPr>
                        <m:t>+1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sup>
                      </m:sSup>
                      <m:r>
                        <a:rPr lang="sv-SE" i="1" noProof="0">
                          <a:latin typeface="Cambria Math"/>
                          <a:ea typeface="Cambria Math"/>
                        </a:rPr>
                        <m:t>+1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1</m:t>
                          </m:r>
                        </m:sup>
                      </m:sSup>
                      <m:r>
                        <a:rPr lang="sv-SE" i="1" noProof="0">
                          <a:latin typeface="Cambria Math"/>
                          <a:ea typeface="Cambria Math"/>
                        </a:rPr>
                        <m:t>+0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0</m:t>
                          </m:r>
                        </m:sup>
                      </m:sSup>
                    </m:oMath>
                  </m:oMathPara>
                </a14:m>
                <a:endParaRPr lang="sv-SE" noProof="0" dirty="0" smtClean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Reella tal kan inte alltid representeras exakt med binära tal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Exempel talet </a:t>
                </a:r>
                <a14:m>
                  <m:oMath xmlns:m="http://schemas.openxmlformats.org/officeDocument/2006/math">
                    <m:r>
                      <a:rPr lang="sv-SE" b="0" i="1" noProof="0" smtClean="0">
                        <a:latin typeface="Cambria Math" charset="0"/>
                      </a:rPr>
                      <m:t>0,2=</m:t>
                    </m:r>
                    <m:sSub>
                      <m:sSubPr>
                        <m:ctrlPr>
                          <a:rPr lang="en-US" b="0" i="1" noProof="0" smtClean="0">
                            <a:latin typeface="Cambria Math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mr-IN" b="0" i="1" noProof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sv-SE" b="0" i="1" noProof="0" smtClean="0">
                                <a:latin typeface="Cambria Math" charset="0"/>
                              </a:rPr>
                              <m:t>0,2</m:t>
                            </m:r>
                          </m:e>
                        </m:d>
                      </m:e>
                      <m:sub>
                        <m:r>
                          <a:rPr lang="sv-SE" b="0" i="1" noProof="0" smtClean="0">
                            <a:latin typeface="Cambria Math" charset="0"/>
                          </a:rPr>
                          <m:t>10</m:t>
                        </m:r>
                      </m:sub>
                    </m:sSub>
                    <m:r>
                      <a:rPr lang="sv-SE" b="0" i="1" noProof="0" smtClean="0">
                        <a:latin typeface="Cambria Math" charset="0"/>
                      </a:rPr>
                      <m:t>=</m:t>
                    </m:r>
                    <m:sSub>
                      <m:sSubPr>
                        <m:ctrlPr>
                          <a:rPr lang="en-US" b="0" i="1" noProof="0" smtClean="0">
                            <a:latin typeface="Cambria Math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mr-IN" b="0" i="1" noProof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sv-SE" b="0" i="1" noProof="0" smtClean="0">
                                <a:latin typeface="Cambria Math" charset="0"/>
                              </a:rPr>
                              <m:t>0.00110011…</m:t>
                            </m:r>
                          </m:e>
                        </m:d>
                      </m:e>
                      <m:sub>
                        <m:r>
                          <a:rPr lang="sv-SE" b="0" i="1" noProof="0" smtClean="0">
                            <a:latin typeface="Cambria Math" charset="0"/>
                          </a:rPr>
                          <m:t>2</m:t>
                        </m:r>
                      </m:sub>
                    </m:sSub>
                  </m:oMath>
                </a14:m>
                <a:endParaRPr lang="sv-SE" noProof="0" dirty="0" smtClean="0"/>
              </a:p>
              <a:p>
                <a:pPr marL="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b="0" i="1" noProof="0" smtClean="0">
                          <a:latin typeface="Cambria Math"/>
                          <a:ea typeface="Cambria Math"/>
                        </a:rPr>
                        <m:t>2</m:t>
                      </m:r>
                      <m:r>
                        <a:rPr lang="sv-SE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i="1" noProof="0">
                              <a:latin typeface="Cambria Math"/>
                              <a:ea typeface="Cambria Math"/>
                            </a:rPr>
                            <m:t>10</m:t>
                          </m:r>
                        </m:e>
                        <m:sup>
                          <m:r>
                            <a:rPr lang="sv-SE" b="0" i="1" noProof="0" smtClean="0">
                              <a:latin typeface="Cambria Math"/>
                              <a:ea typeface="Cambria Math"/>
                            </a:rPr>
                            <m:t>−1</m:t>
                          </m:r>
                        </m:sup>
                      </m:sSup>
                    </m:oMath>
                  </m:oMathPara>
                </a14:m>
                <a:endParaRPr lang="sv-SE" i="1" noProof="0" dirty="0" smtClean="0">
                  <a:latin typeface="Cambria Math"/>
                  <a:ea typeface="Cambria Math"/>
                </a:endParaRPr>
              </a:p>
              <a:p>
                <a:pPr marL="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sz="1800" b="0" i="1" noProof="0" smtClean="0">
                          <a:latin typeface="Cambria Math"/>
                        </a:rPr>
                        <m:t>0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−1</m:t>
                          </m:r>
                        </m:sup>
                      </m:sSup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+</m:t>
                      </m:r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0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−2</m:t>
                          </m:r>
                        </m:sup>
                      </m:sSup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+1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−3</m:t>
                          </m:r>
                        </m:sup>
                      </m:sSup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+</m:t>
                      </m:r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1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−4</m:t>
                          </m:r>
                        </m:sup>
                      </m:sSup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+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0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5</m:t>
                          </m:r>
                        </m:sup>
                      </m:sSup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+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0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6</m:t>
                          </m:r>
                        </m:sup>
                      </m:sSup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+1</m:t>
                      </m:r>
                      <m:r>
                        <a:rPr lang="sv-SE" sz="1800" i="1" noProof="0">
                          <a:latin typeface="Cambria Math"/>
                          <a:ea typeface="Cambria Math"/>
                        </a:rPr>
                        <m:t>⋅</m:t>
                      </m:r>
                      <m:sSup>
                        <m:sSupPr>
                          <m:ctrlPr>
                            <a:rPr lang="sv-SE" sz="1800" i="1" noProof="0">
                              <a:latin typeface="Cambria Math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2</m:t>
                          </m:r>
                        </m:e>
                        <m:sup>
                          <m:r>
                            <a:rPr lang="sv-SE" sz="1800" i="1" noProof="0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sv-SE" sz="1800" b="0" i="1" noProof="0" smtClean="0">
                              <a:latin typeface="Cambria Math"/>
                              <a:ea typeface="Cambria Math"/>
                            </a:rPr>
                            <m:t>7</m:t>
                          </m:r>
                        </m:sup>
                      </m:sSup>
                      <m:r>
                        <a:rPr lang="sv-SE" sz="1800" b="0" i="1" noProof="0" smtClean="0">
                          <a:latin typeface="Cambria Math"/>
                          <a:ea typeface="Cambria Math"/>
                        </a:rPr>
                        <m:t>+…</m:t>
                      </m:r>
                    </m:oMath>
                  </m:oMathPara>
                </a14:m>
                <a:endParaRPr lang="sv-SE" sz="1800" i="1" noProof="0" dirty="0">
                  <a:latin typeface="Cambria Math"/>
                  <a:ea typeface="Cambria Math"/>
                </a:endParaRPr>
              </a:p>
              <a:p>
                <a:endParaRPr lang="sv-SE" noProof="0" dirty="0"/>
              </a:p>
            </p:txBody>
          </p:sp>
        </mc:Choice>
        <mc:Fallback xmlns=""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111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178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 dirty="0" smtClean="0"/>
              <a:t>Heltalsrepresentation i en dator</a:t>
            </a:r>
            <a:endParaRPr lang="sv-SE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Heltal representeras av ett antal bi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Antalet bit sätter gränsen för största och minsta heltale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16 bit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 noProof="0" smtClean="0">
                            <a:latin typeface="Cambria Math" charset="0"/>
                          </a:rPr>
                        </m:ctrlPr>
                      </m:sSupPr>
                      <m:e>
                        <m:r>
                          <a:rPr lang="sv-SE" b="0" i="1" noProof="0" smtClean="0">
                            <a:latin typeface="Cambria Math"/>
                          </a:rPr>
                          <m:t>2</m:t>
                        </m:r>
                      </m:e>
                      <m:sup>
                        <m:r>
                          <a:rPr lang="sv-SE" b="0" i="1" noProof="0" smtClean="0">
                            <a:latin typeface="Cambria Math"/>
                          </a:rPr>
                          <m:t>16−1</m:t>
                        </m:r>
                      </m:sup>
                    </m:sSup>
                    <m:r>
                      <a:rPr lang="sv-SE" b="0" i="0" noProof="0" smtClean="0">
                        <a:latin typeface="Cambria Math"/>
                      </a:rPr>
                      <m:t>=</m:t>
                    </m:r>
                    <m:r>
                      <a:rPr lang="sv-SE" b="0" i="1" noProof="0" smtClean="0">
                        <a:latin typeface="Cambria Math"/>
                        <a:ea typeface="Cambria Math"/>
                      </a:rPr>
                      <m:t>±32768</m:t>
                    </m:r>
                  </m:oMath>
                </a14:m>
                <a:endParaRPr lang="sv-SE" b="0" noProof="0" dirty="0" smtClean="0">
                  <a:ea typeface="Cambria Math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32 bit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 noProof="0">
                            <a:latin typeface="Cambria Math" charset="0"/>
                          </a:rPr>
                        </m:ctrlPr>
                      </m:sSupPr>
                      <m:e>
                        <m:r>
                          <a:rPr lang="sv-SE" i="1" noProof="0">
                            <a:latin typeface="Cambria Math"/>
                          </a:rPr>
                          <m:t>2</m:t>
                        </m:r>
                      </m:e>
                      <m:sup>
                        <m:r>
                          <a:rPr lang="sv-SE" b="0" i="1" noProof="0" smtClean="0">
                            <a:latin typeface="Cambria Math"/>
                          </a:rPr>
                          <m:t>32</m:t>
                        </m:r>
                        <m:r>
                          <a:rPr lang="sv-SE" i="1" noProof="0">
                            <a:latin typeface="Cambria Math"/>
                          </a:rPr>
                          <m:t>−1</m:t>
                        </m:r>
                      </m:sup>
                    </m:sSup>
                    <m:r>
                      <a:rPr lang="sv-SE" noProof="0">
                        <a:latin typeface="Cambria Math"/>
                      </a:rPr>
                      <m:t>=</m:t>
                    </m:r>
                    <m:r>
                      <a:rPr lang="sv-SE" i="1" noProof="0">
                        <a:latin typeface="Cambria Math"/>
                        <a:ea typeface="Cambria Math"/>
                      </a:rPr>
                      <m:t>±</m:t>
                    </m:r>
                    <m:r>
                      <a:rPr lang="sv-SE" b="0" i="1" noProof="0" smtClean="0">
                        <a:latin typeface="Cambria Math"/>
                        <a:ea typeface="Cambria Math"/>
                      </a:rPr>
                      <m:t>2147483648</m:t>
                    </m:r>
                  </m:oMath>
                </a14:m>
                <a:endParaRPr lang="sv-SE" noProof="0" dirty="0" smtClean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noProof="0" dirty="0" smtClean="0"/>
                  <a:t>64 bit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 noProof="0">
                            <a:latin typeface="Cambria Math" charset="0"/>
                          </a:rPr>
                        </m:ctrlPr>
                      </m:sSupPr>
                      <m:e>
                        <m:r>
                          <a:rPr lang="sv-SE" i="1" noProof="0">
                            <a:latin typeface="Cambria Math"/>
                          </a:rPr>
                          <m:t>2</m:t>
                        </m:r>
                      </m:e>
                      <m:sup>
                        <m:r>
                          <a:rPr lang="sv-SE" b="0" i="1" noProof="0" smtClean="0">
                            <a:latin typeface="Cambria Math"/>
                          </a:rPr>
                          <m:t>64</m:t>
                        </m:r>
                        <m:r>
                          <a:rPr lang="sv-SE" i="1" noProof="0">
                            <a:latin typeface="Cambria Math"/>
                          </a:rPr>
                          <m:t>−1</m:t>
                        </m:r>
                      </m:sup>
                    </m:sSup>
                    <m:r>
                      <a:rPr lang="sv-SE" noProof="0">
                        <a:latin typeface="Cambria Math"/>
                      </a:rPr>
                      <m:t>=</m:t>
                    </m:r>
                    <m:r>
                      <a:rPr lang="sv-SE" i="1" noProof="0">
                        <a:latin typeface="Cambria Math"/>
                        <a:ea typeface="Cambria Math"/>
                      </a:rPr>
                      <m:t>±9223372036854775808</m:t>
                    </m:r>
                  </m:oMath>
                </a14:m>
                <a:endParaRPr lang="sv-SE" noProof="0" dirty="0"/>
              </a:p>
            </p:txBody>
          </p:sp>
        </mc:Choice>
        <mc:Fallback xmlns=""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2111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8470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 dirty="0" smtClean="0"/>
              <a:t>Flyttalsrepresentation i en dator</a:t>
            </a:r>
            <a:endParaRPr lang="sv-SE" noProof="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Platshållare för innehåll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sv-SE" dirty="0" smtClean="0"/>
                  <a:t>Double precision </a:t>
                </a:r>
                <a:r>
                  <a:rPr lang="sv-SE" dirty="0" err="1" smtClean="0"/>
                  <a:t>numbers</a:t>
                </a:r>
                <a:r>
                  <a:rPr lang="sv-SE" dirty="0" smtClean="0"/>
                  <a:t> </a:t>
                </a:r>
                <a:r>
                  <a:rPr lang="mr-IN" dirty="0" smtClean="0"/>
                  <a:t>–</a:t>
                </a:r>
                <a:r>
                  <a:rPr lang="sv-SE" dirty="0" smtClean="0"/>
                  <a:t> 64 bit representation av flyttal.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1 bit för 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±</m:t>
                    </m:r>
                  </m:oMath>
                </a14:m>
                <a:r>
                  <a:rPr lang="sv-SE" dirty="0" smtClean="0"/>
                  <a:t> tecken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11 bit för exponent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52 bit för mantissan - signifikant precision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sv-SE" i="1" smtClean="0">
                              <a:latin typeface="Cambria Math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mr-IN" i="1" smtClean="0">
                                  <a:latin typeface="Cambria Math" charset="0"/>
                                </a:rPr>
                              </m:ctrlPr>
                            </m:dPr>
                            <m:e>
                              <m:r>
                                <a:rPr lang="sv-SE" b="0" i="1" smtClean="0">
                                  <a:latin typeface="Cambria Math" charset="0"/>
                                </a:rPr>
                                <m:t>−1</m:t>
                              </m:r>
                            </m:e>
                          </m:d>
                        </m:e>
                        <m:sup>
                          <m:r>
                            <a:rPr lang="sv-SE" b="0" i="1" smtClean="0">
                              <a:latin typeface="Cambria Math" charset="0"/>
                            </a:rPr>
                            <m:t>𝑡</m:t>
                          </m:r>
                        </m:sup>
                      </m:sSup>
                      <m:d>
                        <m:dPr>
                          <m:ctrlPr>
                            <a:rPr lang="mr-IN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sv-SE" b="0" i="1" smtClean="0">
                              <a:latin typeface="Cambria Math" charset="0"/>
                            </a:rPr>
                            <m:t>1</m:t>
                          </m:r>
                          <m:r>
                            <a:rPr lang="sv-SE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∙</m:t>
                          </m:r>
                          <m:sSup>
                            <m:sSupPr>
                              <m:ctrlPr>
                                <a:rPr lang="sv-SE" b="0" i="1" smtClean="0">
                                  <a:latin typeface="Cambria Math" charset="0"/>
                                  <a:ea typeface="Cambria Math" charset="0"/>
                                  <a:cs typeface="Cambria Math" charset="0"/>
                                </a:rPr>
                              </m:ctrlPr>
                            </m:sSupPr>
                            <m:e>
                              <m:r>
                                <a:rPr lang="sv-SE" b="0" i="1" smtClean="0">
                                  <a:latin typeface="Cambria Math" charset="0"/>
                                  <a:ea typeface="Cambria Math" charset="0"/>
                                  <a:cs typeface="Cambria Math" charset="0"/>
                                </a:rPr>
                                <m:t>2</m:t>
                              </m:r>
                            </m:e>
                            <m:sup>
                              <m:r>
                                <a:rPr lang="sv-SE" b="0" i="1" smtClean="0">
                                  <a:latin typeface="Cambria Math" charset="0"/>
                                  <a:ea typeface="Cambria Math" charset="0"/>
                                  <a:cs typeface="Cambria Math" charset="0"/>
                                </a:rPr>
                                <m:t>0</m:t>
                              </m:r>
                            </m:sup>
                          </m:sSup>
                          <m:r>
                            <a:rPr lang="sv-SE" b="0" i="1" smtClean="0">
                              <a:latin typeface="Cambria Math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is-IS" b="0" i="1" smtClean="0">
                                  <a:latin typeface="Cambria Math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sv-SE" b="0" i="1" smtClean="0">
                                  <a:latin typeface="Cambria Math" charset="0"/>
                                </a:rPr>
                                <m:t>𝑖</m:t>
                              </m:r>
                              <m:r>
                                <a:rPr lang="sv-SE" b="0" i="1" smtClean="0">
                                  <a:latin typeface="Cambria Math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sv-SE" b="0" i="1" smtClean="0">
                                  <a:latin typeface="Cambria Math" charset="0"/>
                                </a:rPr>
                                <m:t>52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charset="0"/>
                                    </a:rPr>
                                    <m:t>52−</m:t>
                                  </m:r>
                                  <m:r>
                                    <a:rPr lang="sv-SE" b="0" i="1" smtClean="0">
                                      <a:latin typeface="Cambria Math" charset="0"/>
                                    </a:rPr>
                                    <m:t>𝑖</m:t>
                                  </m:r>
                                </m:sub>
                              </m:sSub>
                              <m:sSup>
                                <m:sSupPr>
                                  <m:ctrlPr>
                                    <a:rPr lang="is-IS" b="0" i="1" smtClean="0">
                                      <a:latin typeface="Cambria Math" charset="0"/>
                                    </a:rPr>
                                  </m:ctrlPr>
                                </m:sSupPr>
                                <m:e>
                                  <m:r>
                                    <a:rPr lang="sv-SE" b="0" i="1" smtClean="0">
                                      <a:latin typeface="Cambria Math" charset="0"/>
                                    </a:rPr>
                                    <m:t>2</m:t>
                                  </m:r>
                                </m:e>
                                <m:sup>
                                  <m:r>
                                    <a:rPr lang="sv-SE" b="0" i="1" smtClean="0">
                                      <a:latin typeface="Cambria Math" charset="0"/>
                                    </a:rPr>
                                    <m:t>𝑖</m:t>
                                  </m:r>
                                </m:sup>
                              </m:sSup>
                            </m:e>
                          </m:nary>
                        </m:e>
                      </m:d>
                      <m:r>
                        <a:rPr lang="mr-IN" i="1" smtClean="0">
                          <a:latin typeface="Cambria Math" charset="0"/>
                          <a:ea typeface="Cambria Math" charset="0"/>
                          <a:cs typeface="Cambria Math" charset="0"/>
                        </a:rPr>
                        <m:t>∙</m:t>
                      </m:r>
                      <m:sSup>
                        <m:sSupPr>
                          <m:ctrlPr>
                            <a:rPr lang="mr-IN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</m:ctrlPr>
                        </m:sSupPr>
                        <m:e>
                          <m:r>
                            <a:rPr lang="sv-SE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10</m:t>
                          </m:r>
                        </m:e>
                        <m:sup>
                          <m:r>
                            <a:rPr lang="sv-SE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𝑒</m:t>
                          </m:r>
                          <m:r>
                            <a:rPr lang="sv-SE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−1023</m:t>
                          </m:r>
                        </m:sup>
                      </m:sSup>
                    </m:oMath>
                  </m:oMathPara>
                </a14:m>
                <a:endParaRPr lang="sv-SE" dirty="0" smtClean="0"/>
              </a:p>
              <a:p>
                <a:pPr marL="342900" indent="-342900">
                  <a:buFont typeface="Arial" charset="0"/>
                  <a:buChar char="•"/>
                </a:pPr>
                <a:endParaRPr lang="sv-SE" dirty="0" smtClean="0"/>
              </a:p>
            </p:txBody>
          </p:sp>
        </mc:Choice>
        <mc:Fallback>
          <p:sp>
            <p:nvSpPr>
              <p:cNvPr id="3" name="Platshållare för innehål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287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116304"/>
            <a:ext cx="9144000" cy="184951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30004" y="6301410"/>
            <a:ext cx="7083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[</a:t>
            </a:r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 smtClean="0"/>
              <a:t>en.wikipedia.org</a:t>
            </a:r>
            <a:r>
              <a:rPr lang="sv-SE" dirty="0" smtClean="0"/>
              <a:t>/</a:t>
            </a:r>
            <a:r>
              <a:rPr lang="sv-SE" dirty="0" err="1" smtClean="0"/>
              <a:t>wiki</a:t>
            </a:r>
            <a:r>
              <a:rPr lang="sv-SE" dirty="0" smtClean="0"/>
              <a:t>/Double-</a:t>
            </a:r>
            <a:r>
              <a:rPr lang="sv-SE" dirty="0" err="1" smtClean="0"/>
              <a:t>precision_floating</a:t>
            </a:r>
            <a:r>
              <a:rPr lang="sv-SE" dirty="0" smtClean="0"/>
              <a:t>-</a:t>
            </a:r>
            <a:r>
              <a:rPr lang="sv-SE" dirty="0" err="1" smtClean="0"/>
              <a:t>point_format</a:t>
            </a:r>
            <a:r>
              <a:rPr lang="sv-SE" dirty="0" smtClean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9164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lyttalsrepresentation i en dator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Kan representera tal mellan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 smtClean="0">
                            <a:latin typeface="Cambria Math" charset="0"/>
                          </a:rPr>
                        </m:ctrlPr>
                      </m:sSupPr>
                      <m:e>
                        <m:r>
                          <a:rPr lang="sv-SE" i="1">
                            <a:latin typeface="Cambria Math" charset="0"/>
                          </a:rPr>
                          <m:t>10</m:t>
                        </m:r>
                      </m:e>
                      <m:sup>
                        <m:r>
                          <a:rPr lang="sv-SE" b="0" i="1" smtClean="0">
                            <a:latin typeface="Cambria Math" charset="0"/>
                          </a:rPr>
                          <m:t>−308</m:t>
                        </m:r>
                      </m:sup>
                    </m:sSup>
                  </m:oMath>
                </a14:m>
                <a:r>
                  <a:rPr lang="sv-SE" dirty="0" smtClean="0"/>
                  <a:t> oc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>
                            <a:latin typeface="Cambria Math" charset="0"/>
                          </a:rPr>
                        </m:ctrlPr>
                      </m:sSupPr>
                      <m:e>
                        <m:r>
                          <a:rPr lang="sv-SE" i="1">
                            <a:latin typeface="Cambria Math" charset="0"/>
                          </a:rPr>
                          <m:t>10</m:t>
                        </m:r>
                      </m:e>
                      <m:sup>
                        <m:r>
                          <a:rPr lang="sv-SE" i="1">
                            <a:latin typeface="Cambria Math" charset="0"/>
                          </a:rPr>
                          <m:t>308</m:t>
                        </m:r>
                      </m:sup>
                    </m:sSup>
                  </m:oMath>
                </a14:m>
                <a:r>
                  <a:rPr lang="sv-SE" dirty="0" smtClean="0"/>
                  <a:t> med </a:t>
                </a:r>
                <a14:m>
                  <m:oMath xmlns:m="http://schemas.openxmlformats.org/officeDocument/2006/math">
                    <m:r>
                      <a:rPr lang="sv-SE" b="0" i="1" smtClean="0">
                        <a:latin typeface="Cambria Math" charset="0"/>
                      </a:rPr>
                      <m:t>53 </m:t>
                    </m:r>
                    <m:func>
                      <m:funcPr>
                        <m:ctrlPr>
                          <a:rPr lang="mr-IN" b="0" i="1" smtClean="0">
                            <a:latin typeface="Cambria Math" charset="0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mr-IN" b="0" i="1" smtClean="0">
                                <a:latin typeface="Cambria Math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mr-IN" b="0" i="0" smtClean="0">
                                <a:latin typeface="Cambria Math" charset="0"/>
                              </a:rPr>
                              <m:t>log</m:t>
                            </m:r>
                          </m:e>
                          <m:sub>
                            <m:r>
                              <a:rPr lang="sv-SE" b="0" i="1" smtClean="0">
                                <a:latin typeface="Cambria Math" charset="0"/>
                              </a:rPr>
                              <m:t>10</m:t>
                            </m:r>
                          </m:sub>
                        </m:sSub>
                      </m:fName>
                      <m:e>
                        <m:r>
                          <a:rPr lang="sv-SE" b="0" i="1" smtClean="0">
                            <a:latin typeface="Cambria Math" charset="0"/>
                          </a:rPr>
                          <m:t>2</m:t>
                        </m:r>
                        <m: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≈15.995</m:t>
                        </m:r>
                      </m:e>
                    </m:func>
                  </m:oMath>
                </a14:m>
                <a:r>
                  <a:rPr lang="sv-SE" dirty="0" smtClean="0"/>
                  <a:t> eller nästan 16 siffors noggrannhet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Standarden är definierad av IEEE 754 som också definierar bland annat: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err="1" smtClean="0"/>
                  <a:t>Single</a:t>
                </a:r>
                <a:r>
                  <a:rPr lang="sv-SE" dirty="0" smtClean="0"/>
                  <a:t> (32 bit flyttal)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Och motsvarande talrepresentation för finansiell sektor:</a:t>
                </a:r>
              </a:p>
              <a:p>
                <a:pPr marL="698500" lvl="1" indent="-342900">
                  <a:buFont typeface="Arial" charset="0"/>
                  <a:buChar char="•"/>
                </a:pPr>
                <a:r>
                  <a:rPr lang="sv-SE" dirty="0" smtClean="0"/>
                  <a:t>Decimal64</a:t>
                </a:r>
              </a:p>
              <a:p>
                <a:pPr marL="698500" lvl="1" indent="-342900">
                  <a:buFont typeface="Arial" charset="0"/>
                  <a:buChar char="•"/>
                </a:pPr>
                <a:r>
                  <a:rPr lang="sv-SE" dirty="0" smtClean="0"/>
                  <a:t>Decimal32</a:t>
                </a:r>
              </a:p>
              <a:p>
                <a:pPr marL="698500" lvl="1" indent="-342900">
                  <a:buFont typeface="Arial" charset="0"/>
                  <a:buChar char="•"/>
                </a:pPr>
                <a:r>
                  <a:rPr lang="sv-SE" dirty="0" smtClean="0"/>
                  <a:t>Dessa talrepresentationer emulerar decimal-avrundning exakt (basen 10).</a:t>
                </a:r>
              </a:p>
              <a:p>
                <a:pPr marL="342900" indent="-342900">
                  <a:buFont typeface="Arial" charset="0"/>
                  <a:buChar char="•"/>
                </a:pPr>
                <a:endParaRPr lang="sv-SE" dirty="0" smtClean="0"/>
              </a:p>
              <a:p>
                <a:pPr marL="342900" indent="-342900">
                  <a:buFont typeface="Arial" charset="0"/>
                  <a:buChar char="•"/>
                </a:pPr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111" t="-313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5481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elkällor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Fel i indata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Avrundningsfel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Trunkeringsfel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>
                    <a:ea typeface="Cambria Math" charset="0"/>
                    <a:cs typeface="Cambria Math" charset="0"/>
                  </a:rPr>
                  <a:t>Absolut fel i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accPr>
                      <m:e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𝑎</m:t>
                        </m:r>
                      </m:e>
                    </m:acc>
                    <m:r>
                      <a:rPr lang="sv-SE">
                        <a:latin typeface="Cambria Math" charset="0"/>
                        <a:ea typeface="Cambria Math" charset="0"/>
                        <a:cs typeface="Cambria Math" charset="0"/>
                      </a:rPr>
                      <m:t>: </m:t>
                    </m:r>
                    <m:d>
                      <m:dPr>
                        <m:begChr m:val="|"/>
                        <m:endChr m:val="|"/>
                        <m:ctrlPr>
                          <a:rPr lang="hr-HR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Δ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𝑎</m:t>
                        </m:r>
                      </m:e>
                    </m:d>
                    <m:r>
                      <a:rPr lang="sv-SE" b="0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=</m:t>
                    </m:r>
                    <m:d>
                      <m:dPr>
                        <m:begChr m:val="|"/>
                        <m:endChr m:val="|"/>
                        <m:ctrlPr>
                          <a:rPr lang="hr-HR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accPr>
                          <m:e>
                            <m: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𝑎</m:t>
                            </m:r>
                          </m:e>
                        </m:acc>
                        <m:r>
                          <a:rPr lang="sv-SE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−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𝑎</m:t>
                        </m:r>
                        <m:r>
                          <m:rPr>
                            <m:nor/>
                          </m:rPr>
                          <a:rPr lang="sv-SE" dirty="0"/>
                          <m:t> </m:t>
                        </m:r>
                      </m:e>
                    </m:d>
                  </m:oMath>
                </a14:m>
                <a:endParaRPr lang="sv-SE" dirty="0" smtClean="0"/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Relativt fel i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hr-HR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acc>
                          <m:accPr>
                            <m:chr m:val="̅"/>
                            <m:ctrlP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accPr>
                          <m:e>
                            <m: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𝑎</m:t>
                            </m:r>
                          </m:e>
                        </m:acc>
                      </m:e>
                    </m:d>
                    <m:r>
                      <a:rPr lang="sv-SE" b="0" i="0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:</m:t>
                    </m:r>
                    <m:d>
                      <m:dPr>
                        <m:begChr m:val="|"/>
                        <m:endChr m:val="|"/>
                        <m:ctrlPr>
                          <a:rPr lang="hr-HR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mr-IN" i="1">
                                <a:latin typeface="Cambria Math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l-GR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Δ</m:t>
                            </m:r>
                            <m: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𝑎</m:t>
                            </m:r>
                          </m:num>
                          <m:den>
                            <m:r>
                              <a:rPr lang="sv-SE" i="1">
                                <a:latin typeface="Cambria Math" charset="0"/>
                              </a:rPr>
                              <m:t>𝑎</m:t>
                            </m:r>
                          </m:den>
                        </m:f>
                      </m:e>
                    </m:d>
                    <m:r>
                      <a:rPr lang="sv-SE" b="0" i="1" smtClean="0">
                        <a:latin typeface="Cambria Math" charset="0"/>
                      </a:rPr>
                      <m:t>,    (</m:t>
                    </m:r>
                    <m:r>
                      <a:rPr lang="sv-SE" b="0" i="1" smtClean="0">
                        <a:latin typeface="Cambria Math" charset="0"/>
                      </a:rPr>
                      <m:t>𝑎</m:t>
                    </m:r>
                    <m:r>
                      <a:rPr lang="sv-SE" b="0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≠0)</m:t>
                    </m:r>
                  </m:oMath>
                </a14:m>
                <a:endParaRPr lang="sv-SE" dirty="0" smtClean="0"/>
              </a:p>
              <a:p>
                <a:pPr marL="698500" lvl="1" indent="-342900">
                  <a:buFont typeface="Arial" charset="0"/>
                  <a:buChar char="•"/>
                </a:pPr>
                <a:r>
                  <a:rPr lang="sv-SE" dirty="0" smtClean="0"/>
                  <a:t>Exempelvis relativt och absolut fel att använda 1,414 istället för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sv-SE" i="1" smtClean="0">
                            <a:latin typeface="Cambria Math" charset="0"/>
                          </a:rPr>
                        </m:ctrlPr>
                      </m:radPr>
                      <m:deg/>
                      <m:e>
                        <m:r>
                          <a:rPr lang="sv-SE" b="0" i="1" smtClean="0">
                            <a:latin typeface="Cambria Math" charset="0"/>
                          </a:rPr>
                          <m:t>2</m:t>
                        </m:r>
                      </m:e>
                    </m:rad>
                  </m:oMath>
                </a14:m>
                <a:endParaRPr lang="sv-SE" dirty="0" smtClean="0"/>
              </a:p>
              <a:p>
                <a:pPr marL="698500" lvl="1" indent="-342900">
                  <a:buFont typeface="Arial" charset="0"/>
                  <a:buChar char="•"/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hr-HR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Δ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𝑎</m:t>
                        </m:r>
                      </m:e>
                    </m:d>
                    <m:r>
                      <a:rPr lang="sv-SE" b="0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=</m:t>
                    </m:r>
                    <m:d>
                      <m:dPr>
                        <m:begChr m:val="|"/>
                        <m:endChr m:val="|"/>
                        <m:ctrlPr>
                          <a:rPr lang="hr-HR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1</m:t>
                        </m:r>
                        <m: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,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1414−</m:t>
                        </m:r>
                        <m:rad>
                          <m:radPr>
                            <m:degHide m:val="on"/>
                            <m:ctrlPr>
                              <a:rPr lang="sv-SE" i="1">
                                <a:latin typeface="Cambria Math" charset="0"/>
                              </a:rPr>
                            </m:ctrlPr>
                          </m:radPr>
                          <m:deg/>
                          <m:e>
                            <m:r>
                              <a:rPr lang="sv-SE" i="1">
                                <a:latin typeface="Cambria Math" charset="0"/>
                              </a:rPr>
                              <m:t>2</m:t>
                            </m:r>
                          </m:e>
                        </m:rad>
                      </m:e>
                    </m:d>
                    <m:r>
                      <a:rPr lang="sv-SE" b="0" i="1" smtClean="0">
                        <a:latin typeface="Cambria Math" charset="0"/>
                      </a:rPr>
                      <m:t>=0,0002135…</m:t>
                    </m:r>
                  </m:oMath>
                </a14:m>
                <a:endParaRPr lang="sv-SE" b="0" dirty="0" smtClean="0"/>
              </a:p>
              <a:p>
                <a:pPr marL="698500" lvl="1" indent="-342900">
                  <a:buFont typeface="Arial" charset="0"/>
                  <a:buChar char="•"/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hr-HR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mr-IN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l-GR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Δ</m:t>
                            </m:r>
                            <m: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𝑎</m:t>
                            </m:r>
                          </m:num>
                          <m:den>
                            <m:r>
                              <a:rPr lang="sv-SE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𝑎</m:t>
                            </m:r>
                          </m:den>
                        </m:f>
                      </m:e>
                    </m:d>
                    <m:r>
                      <a:rPr lang="sv-SE" i="1">
                        <a:latin typeface="Cambria Math" charset="0"/>
                        <a:ea typeface="Cambria Math" charset="0"/>
                        <a:cs typeface="Cambria Math" charset="0"/>
                      </a:rPr>
                      <m:t>=</m:t>
                    </m:r>
                    <m:f>
                      <m:fPr>
                        <m:ctrlP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fPr>
                      <m:num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0.0002135…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sv-SE" i="1">
                                <a:latin typeface="Cambria Math" charset="0"/>
                              </a:rPr>
                            </m:ctrlPr>
                          </m:radPr>
                          <m:deg/>
                          <m:e>
                            <m:r>
                              <a:rPr lang="sv-SE" i="1">
                                <a:latin typeface="Cambria Math" charset="0"/>
                              </a:rPr>
                              <m:t>2</m:t>
                            </m:r>
                          </m:e>
                        </m:rad>
                      </m:den>
                    </m:f>
                    <m:r>
                      <a:rPr lang="sv-SE" i="1">
                        <a:latin typeface="Cambria Math" charset="0"/>
                      </a:rPr>
                      <m:t>≈</m:t>
                    </m:r>
                    <m:r>
                      <a:rPr lang="sv-SE" b="0" i="1" smtClean="0">
                        <a:latin typeface="Cambria Math" charset="0"/>
                      </a:rPr>
                      <m:t>0,015%</m:t>
                    </m:r>
                  </m:oMath>
                </a14:m>
                <a:endParaRPr lang="sv-SE" dirty="0" smtClean="0"/>
              </a:p>
              <a:p>
                <a:pPr marL="698500" lvl="1" indent="-342900">
                  <a:buFont typeface="Arial" charset="0"/>
                  <a:buChar char="•"/>
                </a:pPr>
                <a:r>
                  <a:rPr lang="sv-SE" dirty="0" smtClean="0"/>
                  <a:t>Tänk på skillnaden mellan avrundning och avhuggning</a:t>
                </a:r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2111" t="-1794" r="-616" b="-194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  <p:sp>
        <p:nvSpPr>
          <p:cNvPr id="5" name="TextBox 18"/>
          <p:cNvSpPr txBox="1"/>
          <p:nvPr/>
        </p:nvSpPr>
        <p:spPr>
          <a:xfrm>
            <a:off x="4752706" y="6270128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</a:t>
            </a:r>
            <a:r>
              <a:rPr lang="sv-SE" dirty="0" err="1" smtClean="0"/>
              <a:t>Eldén</a:t>
            </a:r>
            <a:r>
              <a:rPr lang="sv-SE" dirty="0" smtClean="0"/>
              <a:t> och </a:t>
            </a:r>
            <a:r>
              <a:rPr lang="sv-SE" dirty="0" err="1" smtClean="0"/>
              <a:t>Wittmeyer</a:t>
            </a:r>
            <a:r>
              <a:rPr lang="sv-SE" dirty="0" smtClean="0"/>
              <a:t>-Koch, 1987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67759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elkällor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>
                    <a:ea typeface="Cambria Math" charset="0"/>
                    <a:cs typeface="Cambria Math" charset="0"/>
                  </a:rPr>
                  <a:t>Om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Δ</m:t>
                    </m:r>
                    <m:r>
                      <a:rPr lang="sv-SE" b="0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𝑎</m:t>
                    </m:r>
                    <m:r>
                      <a:rPr lang="sv-SE" b="0" i="1" smtClean="0">
                        <a:latin typeface="Cambria Math" charset="0"/>
                        <a:ea typeface="Cambria Math" charset="0"/>
                        <a:cs typeface="Cambria Math" charset="0"/>
                      </a:rPr>
                      <m:t>≤0,5∙</m:t>
                    </m:r>
                    <m:sSup>
                      <m:sSupPr>
                        <m:ctrlP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sSupPr>
                      <m:e>
                        <m: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10</m:t>
                        </m:r>
                      </m:e>
                      <m:sup>
                        <m: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−</m:t>
                        </m:r>
                        <m:r>
                          <a:rPr lang="sv-SE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𝑡</m:t>
                        </m:r>
                      </m:sup>
                    </m:sSup>
                  </m:oMath>
                </a14:m>
                <a:r>
                  <a:rPr lang="sv-SE" dirty="0" smtClean="0"/>
                  <a:t> sägs närmevärdet för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sv-SE" i="1" smtClean="0">
                            <a:latin typeface="Cambria Math" charset="0"/>
                          </a:rPr>
                        </m:ctrlPr>
                      </m:accPr>
                      <m:e>
                        <m:r>
                          <a:rPr lang="sv-SE" b="0" i="1" smtClean="0">
                            <a:latin typeface="Cambria Math" charset="0"/>
                          </a:rPr>
                          <m:t>𝑎</m:t>
                        </m:r>
                      </m:e>
                    </m:acc>
                  </m:oMath>
                </a14:m>
                <a:r>
                  <a:rPr lang="sv-SE" dirty="0" smtClean="0"/>
                  <a:t> ha </a:t>
                </a:r>
                <a14:m>
                  <m:oMath xmlns:m="http://schemas.openxmlformats.org/officeDocument/2006/math">
                    <m:r>
                      <a:rPr lang="sv-SE" b="0" i="1" smtClean="0">
                        <a:latin typeface="Cambria Math" charset="0"/>
                      </a:rPr>
                      <m:t>𝑡</m:t>
                    </m:r>
                  </m:oMath>
                </a14:m>
                <a:r>
                  <a:rPr lang="sv-SE" dirty="0" smtClean="0"/>
                  <a:t> korrekta decimaler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I ett närmevärde med </a:t>
                </a:r>
                <a14:m>
                  <m:oMath xmlns:m="http://schemas.openxmlformats.org/officeDocument/2006/math">
                    <m:r>
                      <a:rPr lang="sv-SE" i="1">
                        <a:latin typeface="Cambria Math" charset="0"/>
                      </a:rPr>
                      <m:t>𝑡</m:t>
                    </m:r>
                  </m:oMath>
                </a14:m>
                <a:r>
                  <a:rPr lang="sv-SE" dirty="0"/>
                  <a:t> korrekta </a:t>
                </a:r>
                <a:r>
                  <a:rPr lang="sv-SE" dirty="0" smtClean="0"/>
                  <a:t>decimaler</a:t>
                </a:r>
                <a:r>
                  <a:rPr lang="sv-SE" dirty="0"/>
                  <a:t> </a:t>
                </a:r>
                <a:r>
                  <a:rPr lang="sv-SE" dirty="0" smtClean="0"/>
                  <a:t>är alla siffror i positioner med enhet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</m:ctrlPr>
                      </m:sSupPr>
                      <m:e>
                        <m:r>
                          <a:rPr lang="sv-SE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≥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10</m:t>
                        </m:r>
                      </m:e>
                      <m:sup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−</m:t>
                        </m:r>
                        <m:r>
                          <a:rPr lang="sv-SE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𝑡</m:t>
                        </m:r>
                      </m:sup>
                    </m:sSup>
                  </m:oMath>
                </a14:m>
                <a:r>
                  <a:rPr lang="sv-SE" dirty="0" smtClean="0"/>
                  <a:t> vara signifikanta siffror, utom inledande nollor</a:t>
                </a:r>
              </a:p>
              <a:p>
                <a:pPr marL="342900" indent="-342900">
                  <a:buFont typeface="Arial" charset="0"/>
                  <a:buChar char="•"/>
                </a:pPr>
                <a:r>
                  <a:rPr lang="sv-SE" dirty="0" smtClean="0"/>
                  <a:t>Exempel</a:t>
                </a:r>
              </a:p>
              <a:p>
                <a:endParaRPr lang="sv-SE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2111" t="-1794" r="-2287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  <p:sp>
        <p:nvSpPr>
          <p:cNvPr id="5" name="TextBox 18"/>
          <p:cNvSpPr txBox="1"/>
          <p:nvPr/>
        </p:nvSpPr>
        <p:spPr>
          <a:xfrm>
            <a:off x="4752706" y="6270128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</a:t>
            </a:r>
            <a:r>
              <a:rPr lang="sv-SE" dirty="0" err="1" smtClean="0"/>
              <a:t>Eldén</a:t>
            </a:r>
            <a:r>
              <a:rPr lang="sv-SE" dirty="0" smtClean="0"/>
              <a:t> och </a:t>
            </a:r>
            <a:r>
              <a:rPr lang="sv-SE" dirty="0" err="1" smtClean="0"/>
              <a:t>Wittmeyer</a:t>
            </a:r>
            <a:r>
              <a:rPr lang="sv-SE" dirty="0" smtClean="0"/>
              <a:t>-Koch, 1987]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Tab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69634537"/>
                  </p:ext>
                </p:extLst>
              </p:nvPr>
            </p:nvGraphicFramePr>
            <p:xfrm>
              <a:off x="2039144" y="3756178"/>
              <a:ext cx="6096001" cy="1752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632869"/>
                    <a:gridCol w="1431132"/>
                    <a:gridCol w="2032000"/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Närmevärde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Korrekta decimaler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Signifikanta</a:t>
                          </a:r>
                          <a:r>
                            <a:rPr lang="sv-SE" baseline="0" dirty="0" smtClean="0"/>
                            <a:t> siffor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sv-SE" b="0" i="1" smtClean="0">
                                    <a:latin typeface="Cambria Math" charset="0"/>
                                  </a:rPr>
                                  <m:t>0,001234</m:t>
                                </m:r>
                                <m:r>
                                  <a:rPr lang="sv-SE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±0,5∙</m:t>
                                </m:r>
                                <m:sSup>
                                  <m:sSupPr>
                                    <m:ctrlP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10</m:t>
                                    </m:r>
                                  </m:e>
                                  <m:sup>
                                    <m: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−5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5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3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sv-SE" b="0" i="1" smtClean="0">
                                    <a:latin typeface="Cambria Math" charset="0"/>
                                  </a:rPr>
                                  <m:t>4,567</m:t>
                                </m:r>
                                <m:r>
                                  <a:rPr lang="sv-SE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±0,5∙</m:t>
                                </m:r>
                                <m:sSup>
                                  <m:sSupPr>
                                    <m:ctrlP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10</m:t>
                                    </m:r>
                                  </m:e>
                                  <m:sup>
                                    <m:r>
                                      <a:rPr lang="sv-SE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−3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3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4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sv-SE" b="0" i="1" smtClean="0">
                                    <a:latin typeface="Cambria Math" charset="0"/>
                                  </a:rPr>
                                  <m:t>330000</m:t>
                                </m:r>
                                <m:r>
                                  <a:rPr lang="sv-SE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±5000</m:t>
                                </m:r>
                              </m:oMath>
                            </m:oMathPara>
                          </a14:m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-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2</a:t>
                          </a:r>
                          <a:endParaRPr lang="sv-SE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Tab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69634537"/>
                  </p:ext>
                </p:extLst>
              </p:nvPr>
            </p:nvGraphicFramePr>
            <p:xfrm>
              <a:off x="2039144" y="3756178"/>
              <a:ext cx="6096001" cy="17526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632869"/>
                    <a:gridCol w="1431132"/>
                    <a:gridCol w="2032000"/>
                  </a:tblGrid>
                  <a:tr h="64008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Närmevärde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Korrekta decimaler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Signifikanta</a:t>
                          </a:r>
                          <a:r>
                            <a:rPr lang="sv-SE" baseline="0" dirty="0" smtClean="0"/>
                            <a:t> siffor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31" t="-180328" r="-132639" b="-2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5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3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31" t="-280328" r="-132639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3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4</a:t>
                          </a:r>
                          <a:endParaRPr lang="sv-SE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231" t="-380328" r="-132639" b="-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-</a:t>
                          </a:r>
                          <a:endParaRPr lang="sv-S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sv-SE" dirty="0" smtClean="0"/>
                            <a:t>2</a:t>
                          </a:r>
                          <a:endParaRPr lang="sv-SE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533642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nnehåll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r>
              <a:rPr lang="sv-SE" dirty="0" smtClean="0"/>
              <a:t>Matematisk modellering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Analytiska modelle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Numeriska modelle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Simulering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Talrepresentation i en dato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Exempel på matematisk modellering</a:t>
            </a:r>
          </a:p>
          <a:p>
            <a:pPr marL="342900" indent="-342900">
              <a:buFont typeface="Arial" charset="0"/>
              <a:buChar char="•"/>
            </a:pP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286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arför matematisk modeller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Man kan analysera ett system genom att bygga det och direkt undersöka systemet, men: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Det är för dyrt att bygga ett riktigt system och mäta på det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Det är för riskfyllt att bygga ett riktigt system och undersöka detta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Systemet är otillgängligt (solsystemet) eller existerar (ännu) inte (ny bil eller nytt flygplan)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TextBox 4"/>
          <p:cNvSpPr txBox="1"/>
          <p:nvPr/>
        </p:nvSpPr>
        <p:spPr>
          <a:xfrm>
            <a:off x="5932516" y="6170556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Ljung </a:t>
            </a:r>
            <a:r>
              <a:rPr lang="sv-SE" smtClean="0"/>
              <a:t>och Glad, 2004]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9686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atematisk modellering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cxnSp>
        <p:nvCxnSpPr>
          <p:cNvPr id="6" name="Straight Connector 5"/>
          <p:cNvCxnSpPr/>
          <p:nvPr/>
        </p:nvCxnSpPr>
        <p:spPr>
          <a:xfrm>
            <a:off x="4463107" y="1457645"/>
            <a:ext cx="0" cy="402336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loud 6"/>
          <p:cNvSpPr/>
          <p:nvPr/>
        </p:nvSpPr>
        <p:spPr>
          <a:xfrm>
            <a:off x="770339" y="1983544"/>
            <a:ext cx="2982350" cy="2405576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Avgränsning av problemområd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12715" y="1505243"/>
            <a:ext cx="1613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”Verkligheten”</a:t>
            </a:r>
            <a:endParaRPr lang="sv-SE" dirty="0"/>
          </a:p>
        </p:txBody>
      </p:sp>
      <p:sp>
        <p:nvSpPr>
          <p:cNvPr id="9" name="Rectangle 8"/>
          <p:cNvSpPr/>
          <p:nvPr/>
        </p:nvSpPr>
        <p:spPr>
          <a:xfrm>
            <a:off x="5205046" y="1983544"/>
            <a:ext cx="2504050" cy="25040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mtClean="0">
                <a:solidFill>
                  <a:schemeClr val="tx1"/>
                </a:solidFill>
              </a:rPr>
              <a:t>Matematisk Modell</a:t>
            </a:r>
            <a:endParaRPr lang="sv-SE" dirty="0" err="1" smtClean="0">
              <a:solidFill>
                <a:schemeClr val="tx1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3690525" y="2855742"/>
            <a:ext cx="1396619" cy="34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680335" y="2493380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frågor</a:t>
            </a:r>
            <a:endParaRPr lang="sv-SE" dirty="0"/>
          </a:p>
        </p:txBody>
      </p:sp>
      <p:cxnSp>
        <p:nvCxnSpPr>
          <p:cNvPr id="15" name="Straight Arrow Connector 14"/>
          <p:cNvCxnSpPr>
            <a:stCxn id="9" idx="1"/>
          </p:cNvCxnSpPr>
          <p:nvPr/>
        </p:nvCxnSpPr>
        <p:spPr>
          <a:xfrm flipH="1">
            <a:off x="4051693" y="3235569"/>
            <a:ext cx="11533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584363" y="3284659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svar</a:t>
            </a:r>
            <a:endParaRPr lang="sv-SE" dirty="0"/>
          </a:p>
        </p:txBody>
      </p:sp>
      <p:sp>
        <p:nvSpPr>
          <p:cNvPr id="19" name="TextBox 18"/>
          <p:cNvSpPr txBox="1"/>
          <p:nvPr/>
        </p:nvSpPr>
        <p:spPr>
          <a:xfrm>
            <a:off x="4752706" y="6270128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</a:t>
            </a:r>
            <a:r>
              <a:rPr lang="sv-SE" dirty="0" err="1" smtClean="0"/>
              <a:t>Eldén</a:t>
            </a:r>
            <a:r>
              <a:rPr lang="sv-SE" dirty="0" smtClean="0"/>
              <a:t> och </a:t>
            </a:r>
            <a:r>
              <a:rPr lang="sv-SE" dirty="0" err="1" smtClean="0"/>
              <a:t>Wittmeyer</a:t>
            </a:r>
            <a:r>
              <a:rPr lang="sv-SE" dirty="0" smtClean="0"/>
              <a:t>-Koch, 1987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8633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imulering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charset="0"/>
              <a:buChar char="•"/>
            </a:pPr>
            <a:r>
              <a:rPr lang="sv-SE" dirty="0" smtClean="0"/>
              <a:t>Det går inte att göra ett experiment på systemet, men en matematisk modell existera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Det går då att använda modellen för att undersöka systemet</a:t>
            </a:r>
          </a:p>
          <a:p>
            <a:pPr marL="698500" lvl="1" indent="-342900">
              <a:buFont typeface="Arial" charset="0"/>
              <a:buChar char="•"/>
            </a:pPr>
            <a:r>
              <a:rPr lang="sv-SE" dirty="0" smtClean="0"/>
              <a:t>Analytiska modeller</a:t>
            </a:r>
          </a:p>
          <a:p>
            <a:pPr marL="698500" lvl="1" indent="-342900">
              <a:buFont typeface="Arial" charset="0"/>
              <a:buChar char="•"/>
            </a:pPr>
            <a:r>
              <a:rPr lang="sv-SE" dirty="0" smtClean="0"/>
              <a:t>Numeriska modelle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Datorer kan simulera komplexa system som är svåra och /eller dyra att realisera i verkligheten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Simuleringarna används för att förstå hur systemet fungera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Värdet av resultaten beror på hur bra modellen är</a:t>
            </a:r>
          </a:p>
          <a:p>
            <a:pPr marL="342900" indent="-342900">
              <a:buFont typeface="Arial" charset="0"/>
              <a:buChar char="•"/>
            </a:pPr>
            <a:r>
              <a:rPr lang="sv-SE" dirty="0" smtClean="0"/>
              <a:t>Modellen måste verifieras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1909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Giltighetsområde och valideringsproces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En modell har ett begränsat giltighetsområde</a:t>
            </a:r>
          </a:p>
          <a:p>
            <a:pPr marL="698500" lvl="1" indent="-342900"/>
            <a:r>
              <a:rPr lang="sv-SE" dirty="0" smtClean="0"/>
              <a:t>Inom det område som modellen har validerats</a:t>
            </a:r>
            <a:endParaRPr lang="sv-SE" dirty="0"/>
          </a:p>
          <a:p>
            <a:pPr marL="698500" lvl="1" indent="-342900"/>
            <a:endParaRPr lang="sv-SE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5" name="Rectangle 4"/>
          <p:cNvSpPr/>
          <p:nvPr/>
        </p:nvSpPr>
        <p:spPr>
          <a:xfrm>
            <a:off x="2343150" y="2528888"/>
            <a:ext cx="2243138" cy="971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Strukturering av systemet</a:t>
            </a:r>
          </a:p>
        </p:txBody>
      </p:sp>
      <p:sp>
        <p:nvSpPr>
          <p:cNvPr id="6" name="Rectangle 5"/>
          <p:cNvSpPr/>
          <p:nvPr/>
        </p:nvSpPr>
        <p:spPr>
          <a:xfrm>
            <a:off x="2343148" y="3643313"/>
            <a:ext cx="2243138" cy="971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Approximationer </a:t>
            </a:r>
            <a:r>
              <a:rPr lang="sv-SE" smtClean="0">
                <a:solidFill>
                  <a:schemeClr val="tx1"/>
                </a:solidFill>
              </a:rPr>
              <a:t>och förenklingar</a:t>
            </a:r>
            <a:endParaRPr lang="sv-SE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43149" y="4787687"/>
            <a:ext cx="2243138" cy="971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Parameter-anpassn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5449094" y="2528888"/>
            <a:ext cx="2243138" cy="971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9" name="Rectangle 8"/>
          <p:cNvSpPr/>
          <p:nvPr/>
        </p:nvSpPr>
        <p:spPr>
          <a:xfrm>
            <a:off x="5449094" y="4787900"/>
            <a:ext cx="2243138" cy="971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Test av </a:t>
            </a:r>
            <a:r>
              <a:rPr lang="sv-SE" dirty="0" err="1" smtClean="0">
                <a:solidFill>
                  <a:schemeClr val="tx1"/>
                </a:solidFill>
              </a:rPr>
              <a:t>valiteten</a:t>
            </a:r>
            <a:endParaRPr lang="sv-SE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28625" y="2386013"/>
            <a:ext cx="4843463" cy="347186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8650" y="2528888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mtClean="0"/>
              <a:t>Modellbygge</a:t>
            </a:r>
            <a:endParaRPr lang="sv-SE"/>
          </a:p>
        </p:txBody>
      </p:sp>
      <p:sp>
        <p:nvSpPr>
          <p:cNvPr id="12" name="TextBox 11"/>
          <p:cNvSpPr txBox="1"/>
          <p:nvPr/>
        </p:nvSpPr>
        <p:spPr>
          <a:xfrm>
            <a:off x="628650" y="5015985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mtClean="0"/>
              <a:t>Mätdata</a:t>
            </a:r>
            <a:endParaRPr lang="sv-SE"/>
          </a:p>
        </p:txBody>
      </p:sp>
      <p:cxnSp>
        <p:nvCxnSpPr>
          <p:cNvPr id="14" name="Straight Arrow Connector 13"/>
          <p:cNvCxnSpPr>
            <a:endCxn id="7" idx="1"/>
          </p:cNvCxnSpPr>
          <p:nvPr/>
        </p:nvCxnSpPr>
        <p:spPr>
          <a:xfrm>
            <a:off x="1619249" y="5273462"/>
            <a:ext cx="7239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5" idx="2"/>
            <a:endCxn id="6" idx="0"/>
          </p:cNvCxnSpPr>
          <p:nvPr/>
        </p:nvCxnSpPr>
        <p:spPr>
          <a:xfrm flipH="1">
            <a:off x="3464717" y="3500438"/>
            <a:ext cx="2" cy="14287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6" idx="2"/>
            <a:endCxn id="7" idx="0"/>
          </p:cNvCxnSpPr>
          <p:nvPr/>
        </p:nvCxnSpPr>
        <p:spPr>
          <a:xfrm>
            <a:off x="3464717" y="4614863"/>
            <a:ext cx="1" cy="1728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8" idx="2"/>
            <a:endCxn id="9" idx="0"/>
          </p:cNvCxnSpPr>
          <p:nvPr/>
        </p:nvCxnSpPr>
        <p:spPr>
          <a:xfrm>
            <a:off x="6570663" y="3500438"/>
            <a:ext cx="0" cy="12874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9" idx="1"/>
            <a:endCxn id="5" idx="3"/>
          </p:cNvCxnSpPr>
          <p:nvPr/>
        </p:nvCxnSpPr>
        <p:spPr>
          <a:xfrm rot="10800000">
            <a:off x="4586288" y="3014663"/>
            <a:ext cx="862806" cy="225901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7" idx="3"/>
          </p:cNvCxnSpPr>
          <p:nvPr/>
        </p:nvCxnSpPr>
        <p:spPr>
          <a:xfrm flipH="1">
            <a:off x="4586287" y="5273462"/>
            <a:ext cx="43140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endCxn id="6" idx="3"/>
          </p:cNvCxnSpPr>
          <p:nvPr/>
        </p:nvCxnSpPr>
        <p:spPr>
          <a:xfrm flipH="1" flipV="1">
            <a:off x="4586286" y="4129088"/>
            <a:ext cx="431402" cy="128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5932516" y="6170556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Ljung </a:t>
            </a:r>
            <a:r>
              <a:rPr lang="sv-SE" smtClean="0"/>
              <a:t>och Glad, 2004]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9223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erifiering av matematiska modeller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5" name="Moln 4"/>
          <p:cNvSpPr/>
          <p:nvPr/>
        </p:nvSpPr>
        <p:spPr>
          <a:xfrm>
            <a:off x="1374232" y="1617203"/>
            <a:ext cx="2750757" cy="2267107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272053" y="120156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Omvärld</a:t>
            </a:r>
            <a:endParaRPr lang="sv-SE" dirty="0"/>
          </a:p>
        </p:txBody>
      </p:sp>
      <p:cxnSp>
        <p:nvCxnSpPr>
          <p:cNvPr id="11" name="Rak pil 10"/>
          <p:cNvCxnSpPr/>
          <p:nvPr/>
        </p:nvCxnSpPr>
        <p:spPr>
          <a:xfrm>
            <a:off x="1328753" y="1503848"/>
            <a:ext cx="537832" cy="36273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el 12"/>
          <p:cNvSpPr/>
          <p:nvPr/>
        </p:nvSpPr>
        <p:spPr>
          <a:xfrm>
            <a:off x="1866585" y="2381425"/>
            <a:ext cx="15869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dirty="0" smtClean="0"/>
              <a:t>Specificera Problemet</a:t>
            </a:r>
            <a:endParaRPr lang="sv-SE" dirty="0"/>
          </a:p>
        </p:txBody>
      </p:sp>
      <p:cxnSp>
        <p:nvCxnSpPr>
          <p:cNvPr id="14" name="Rak pil 13"/>
          <p:cNvCxnSpPr>
            <a:stCxn id="5" idx="0"/>
            <a:endCxn id="16" idx="2"/>
          </p:cNvCxnSpPr>
          <p:nvPr/>
        </p:nvCxnSpPr>
        <p:spPr>
          <a:xfrm flipV="1">
            <a:off x="4122697" y="2104632"/>
            <a:ext cx="1429193" cy="64612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 15"/>
          <p:cNvSpPr/>
          <p:nvPr/>
        </p:nvSpPr>
        <p:spPr>
          <a:xfrm>
            <a:off x="5551890" y="1639874"/>
            <a:ext cx="1998835" cy="92951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</a:rPr>
              <a:t>Formulera det matematiska problemet</a:t>
            </a:r>
          </a:p>
        </p:txBody>
      </p:sp>
      <p:sp>
        <p:nvSpPr>
          <p:cNvPr id="19" name="Ellips 18"/>
          <p:cNvSpPr/>
          <p:nvPr/>
        </p:nvSpPr>
        <p:spPr>
          <a:xfrm>
            <a:off x="5551891" y="2954795"/>
            <a:ext cx="1998835" cy="92951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</a:rPr>
              <a:t>Lös det matematisk problemet</a:t>
            </a:r>
          </a:p>
        </p:txBody>
      </p:sp>
      <p:cxnSp>
        <p:nvCxnSpPr>
          <p:cNvPr id="20" name="Rak pil 19"/>
          <p:cNvCxnSpPr>
            <a:stCxn id="16" idx="4"/>
            <a:endCxn id="19" idx="0"/>
          </p:cNvCxnSpPr>
          <p:nvPr/>
        </p:nvCxnSpPr>
        <p:spPr>
          <a:xfrm>
            <a:off x="6551308" y="2569389"/>
            <a:ext cx="1" cy="38540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 23"/>
          <p:cNvSpPr/>
          <p:nvPr/>
        </p:nvSpPr>
        <p:spPr>
          <a:xfrm>
            <a:off x="3951393" y="4078442"/>
            <a:ext cx="1998835" cy="81490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</a:rPr>
              <a:t>Utvärdera modellen</a:t>
            </a:r>
          </a:p>
        </p:txBody>
      </p:sp>
      <p:cxnSp>
        <p:nvCxnSpPr>
          <p:cNvPr id="25" name="Rak pil 24"/>
          <p:cNvCxnSpPr>
            <a:stCxn id="19" idx="4"/>
            <a:endCxn id="24" idx="6"/>
          </p:cNvCxnSpPr>
          <p:nvPr/>
        </p:nvCxnSpPr>
        <p:spPr>
          <a:xfrm flipH="1">
            <a:off x="5950228" y="3884310"/>
            <a:ext cx="601081" cy="60158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ak pil 27"/>
          <p:cNvCxnSpPr>
            <a:stCxn id="24" idx="2"/>
            <a:endCxn id="5" idx="1"/>
          </p:cNvCxnSpPr>
          <p:nvPr/>
        </p:nvCxnSpPr>
        <p:spPr>
          <a:xfrm flipH="1" flipV="1">
            <a:off x="2749611" y="3881896"/>
            <a:ext cx="1201782" cy="6039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ruta 30"/>
          <p:cNvSpPr txBox="1"/>
          <p:nvPr/>
        </p:nvSpPr>
        <p:spPr>
          <a:xfrm>
            <a:off x="1729207" y="4078442"/>
            <a:ext cx="2194832" cy="276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sv-SE" sz="1200" dirty="0" smtClean="0"/>
              <a:t>Eventuellt Modifiera modellen</a:t>
            </a:r>
            <a:endParaRPr lang="sv-SE" sz="1200" dirty="0"/>
          </a:p>
        </p:txBody>
      </p:sp>
      <p:cxnSp>
        <p:nvCxnSpPr>
          <p:cNvPr id="34" name="Rak pil 33"/>
          <p:cNvCxnSpPr>
            <a:stCxn id="24" idx="3"/>
            <a:endCxn id="43" idx="3"/>
          </p:cNvCxnSpPr>
          <p:nvPr/>
        </p:nvCxnSpPr>
        <p:spPr>
          <a:xfrm flipH="1">
            <a:off x="2749611" y="4774004"/>
            <a:ext cx="1494505" cy="38744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/>
          <p:cNvSpPr/>
          <p:nvPr/>
        </p:nvSpPr>
        <p:spPr>
          <a:xfrm>
            <a:off x="695247" y="4791155"/>
            <a:ext cx="2054364" cy="7405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Använd modellen</a:t>
            </a:r>
          </a:p>
        </p:txBody>
      </p:sp>
    </p:spTree>
    <p:extLst>
      <p:ext uri="{BB962C8B-B14F-4D97-AF65-F5344CB8AC3E}">
        <p14:creationId xmlns:p14="http://schemas.microsoft.com/office/powerpoint/2010/main" val="40739087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nalytiska modeller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cxnSp>
        <p:nvCxnSpPr>
          <p:cNvPr id="5" name="Straight Connector 5"/>
          <p:cNvCxnSpPr/>
          <p:nvPr/>
        </p:nvCxnSpPr>
        <p:spPr>
          <a:xfrm>
            <a:off x="4463107" y="1457645"/>
            <a:ext cx="0" cy="402336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loud 6"/>
          <p:cNvSpPr/>
          <p:nvPr/>
        </p:nvSpPr>
        <p:spPr>
          <a:xfrm>
            <a:off x="770339" y="1983544"/>
            <a:ext cx="2982350" cy="2405576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Avgränsning </a:t>
            </a:r>
            <a:r>
              <a:rPr lang="sv-SE" smtClean="0">
                <a:solidFill>
                  <a:schemeClr val="tx1"/>
                </a:solidFill>
              </a:rPr>
              <a:t>av problemområdet</a:t>
            </a:r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12715" y="1505243"/>
            <a:ext cx="1613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mtClean="0"/>
              <a:t>”Verkligheten”</a:t>
            </a:r>
            <a:endParaRPr lang="sv-SE" dirty="0"/>
          </a:p>
        </p:txBody>
      </p:sp>
      <p:sp>
        <p:nvSpPr>
          <p:cNvPr id="8" name="Rectangle 8"/>
          <p:cNvSpPr/>
          <p:nvPr/>
        </p:nvSpPr>
        <p:spPr>
          <a:xfrm>
            <a:off x="5205046" y="1983544"/>
            <a:ext cx="2504050" cy="25040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Matematisk Modell</a:t>
            </a:r>
          </a:p>
        </p:txBody>
      </p:sp>
      <p:cxnSp>
        <p:nvCxnSpPr>
          <p:cNvPr id="9" name="Straight Arrow Connector 10"/>
          <p:cNvCxnSpPr/>
          <p:nvPr/>
        </p:nvCxnSpPr>
        <p:spPr>
          <a:xfrm flipV="1">
            <a:off x="3690525" y="2855742"/>
            <a:ext cx="1396619" cy="34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12"/>
          <p:cNvSpPr txBox="1"/>
          <p:nvPr/>
        </p:nvSpPr>
        <p:spPr>
          <a:xfrm>
            <a:off x="3680335" y="2493380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frågor</a:t>
            </a:r>
            <a:endParaRPr lang="sv-SE" dirty="0"/>
          </a:p>
        </p:txBody>
      </p:sp>
      <p:cxnSp>
        <p:nvCxnSpPr>
          <p:cNvPr id="11" name="Straight Arrow Connector 14"/>
          <p:cNvCxnSpPr>
            <a:stCxn id="8" idx="1"/>
          </p:cNvCxnSpPr>
          <p:nvPr/>
        </p:nvCxnSpPr>
        <p:spPr>
          <a:xfrm flipH="1">
            <a:off x="4051693" y="3235569"/>
            <a:ext cx="11533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6"/>
          <p:cNvSpPr txBox="1"/>
          <p:nvPr/>
        </p:nvSpPr>
        <p:spPr>
          <a:xfrm>
            <a:off x="4584363" y="3284659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svar</a:t>
            </a:r>
            <a:endParaRPr lang="sv-SE" dirty="0"/>
          </a:p>
        </p:txBody>
      </p:sp>
      <p:sp>
        <p:nvSpPr>
          <p:cNvPr id="13" name="Rektangel 12"/>
          <p:cNvSpPr/>
          <p:nvPr/>
        </p:nvSpPr>
        <p:spPr>
          <a:xfrm>
            <a:off x="5406644" y="2493380"/>
            <a:ext cx="2100853" cy="1700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>
                <a:solidFill>
                  <a:schemeClr val="tx1"/>
                </a:solidFill>
              </a:rPr>
              <a:t>Matematiskt Problem</a:t>
            </a:r>
          </a:p>
          <a:p>
            <a:pPr algn="ctr"/>
            <a:endParaRPr lang="sv-SE" dirty="0" smtClean="0">
              <a:solidFill>
                <a:schemeClr val="tx1"/>
              </a:solidFill>
            </a:endParaRPr>
          </a:p>
          <a:p>
            <a:pPr algn="ctr"/>
            <a:r>
              <a:rPr lang="sv-SE" dirty="0" smtClean="0">
                <a:solidFill>
                  <a:schemeClr val="tx1"/>
                </a:solidFill>
              </a:rPr>
              <a:t>Analytisk Lösning</a:t>
            </a:r>
          </a:p>
        </p:txBody>
      </p:sp>
      <p:cxnSp>
        <p:nvCxnSpPr>
          <p:cNvPr id="15" name="Rak 14"/>
          <p:cNvCxnSpPr/>
          <p:nvPr/>
        </p:nvCxnSpPr>
        <p:spPr>
          <a:xfrm>
            <a:off x="5569527" y="3343545"/>
            <a:ext cx="16776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8"/>
          <p:cNvSpPr txBox="1"/>
          <p:nvPr/>
        </p:nvSpPr>
        <p:spPr>
          <a:xfrm>
            <a:off x="4752706" y="6270128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</a:t>
            </a:r>
            <a:r>
              <a:rPr lang="sv-SE" dirty="0" err="1" smtClean="0"/>
              <a:t>Eldén</a:t>
            </a:r>
            <a:r>
              <a:rPr lang="sv-SE" dirty="0" smtClean="0"/>
              <a:t> och </a:t>
            </a:r>
            <a:r>
              <a:rPr lang="sv-SE" dirty="0" err="1" smtClean="0"/>
              <a:t>Wittmeyer</a:t>
            </a:r>
            <a:r>
              <a:rPr lang="sv-SE" dirty="0" smtClean="0"/>
              <a:t>-Koch, 1987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39173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Numeriska modeller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cxnSp>
        <p:nvCxnSpPr>
          <p:cNvPr id="5" name="Straight Connector 5"/>
          <p:cNvCxnSpPr/>
          <p:nvPr/>
        </p:nvCxnSpPr>
        <p:spPr>
          <a:xfrm>
            <a:off x="4463107" y="1457645"/>
            <a:ext cx="0" cy="402336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loud 6"/>
          <p:cNvSpPr/>
          <p:nvPr/>
        </p:nvSpPr>
        <p:spPr>
          <a:xfrm>
            <a:off x="770339" y="1983544"/>
            <a:ext cx="2982350" cy="2405576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Avgränsning </a:t>
            </a:r>
            <a:r>
              <a:rPr lang="sv-SE" smtClean="0">
                <a:solidFill>
                  <a:schemeClr val="tx1"/>
                </a:solidFill>
              </a:rPr>
              <a:t>av problemområdet</a:t>
            </a:r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812715" y="1505243"/>
            <a:ext cx="1613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mtClean="0"/>
              <a:t>”Verkligheten”</a:t>
            </a:r>
            <a:endParaRPr lang="sv-SE" dirty="0"/>
          </a:p>
        </p:txBody>
      </p:sp>
      <p:sp>
        <p:nvSpPr>
          <p:cNvPr id="8" name="Rectangle 8"/>
          <p:cNvSpPr/>
          <p:nvPr/>
        </p:nvSpPr>
        <p:spPr>
          <a:xfrm>
            <a:off x="5205046" y="1983544"/>
            <a:ext cx="2504050" cy="25040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Matematisk Modell</a:t>
            </a:r>
          </a:p>
        </p:txBody>
      </p:sp>
      <p:cxnSp>
        <p:nvCxnSpPr>
          <p:cNvPr id="9" name="Straight Arrow Connector 10"/>
          <p:cNvCxnSpPr/>
          <p:nvPr/>
        </p:nvCxnSpPr>
        <p:spPr>
          <a:xfrm flipV="1">
            <a:off x="3690525" y="2855742"/>
            <a:ext cx="1396619" cy="34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12"/>
          <p:cNvSpPr txBox="1"/>
          <p:nvPr/>
        </p:nvSpPr>
        <p:spPr>
          <a:xfrm>
            <a:off x="3680335" y="2493380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frågor</a:t>
            </a:r>
            <a:endParaRPr lang="sv-SE" dirty="0"/>
          </a:p>
        </p:txBody>
      </p:sp>
      <p:cxnSp>
        <p:nvCxnSpPr>
          <p:cNvPr id="11" name="Straight Arrow Connector 14"/>
          <p:cNvCxnSpPr>
            <a:stCxn id="8" idx="1"/>
          </p:cNvCxnSpPr>
          <p:nvPr/>
        </p:nvCxnSpPr>
        <p:spPr>
          <a:xfrm flipH="1">
            <a:off x="4051693" y="3235569"/>
            <a:ext cx="11533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6"/>
          <p:cNvSpPr txBox="1"/>
          <p:nvPr/>
        </p:nvSpPr>
        <p:spPr>
          <a:xfrm>
            <a:off x="4584363" y="3284659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svar</a:t>
            </a:r>
            <a:endParaRPr lang="sv-SE" dirty="0"/>
          </a:p>
        </p:txBody>
      </p:sp>
      <p:sp>
        <p:nvSpPr>
          <p:cNvPr id="13" name="Rektangel 12"/>
          <p:cNvSpPr/>
          <p:nvPr/>
        </p:nvSpPr>
        <p:spPr>
          <a:xfrm>
            <a:off x="5406644" y="3284659"/>
            <a:ext cx="2100853" cy="10423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>
                <a:solidFill>
                  <a:schemeClr val="tx1"/>
                </a:solidFill>
              </a:rPr>
              <a:t>Numeriskt Problem</a:t>
            </a:r>
          </a:p>
          <a:p>
            <a:pPr algn="ctr"/>
            <a:endParaRPr lang="sv-SE" dirty="0" smtClean="0">
              <a:solidFill>
                <a:schemeClr val="tx1"/>
              </a:solidFill>
            </a:endParaRPr>
          </a:p>
          <a:p>
            <a:pPr algn="ctr"/>
            <a:r>
              <a:rPr lang="sv-SE" sz="1600" dirty="0" smtClean="0">
                <a:solidFill>
                  <a:schemeClr val="tx1"/>
                </a:solidFill>
              </a:rPr>
              <a:t>Numerisk Lösning</a:t>
            </a:r>
          </a:p>
        </p:txBody>
      </p:sp>
      <p:cxnSp>
        <p:nvCxnSpPr>
          <p:cNvPr id="14" name="Rak 13"/>
          <p:cNvCxnSpPr/>
          <p:nvPr/>
        </p:nvCxnSpPr>
        <p:spPr>
          <a:xfrm>
            <a:off x="5599755" y="3845868"/>
            <a:ext cx="16776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ktangel 15"/>
          <p:cNvSpPr/>
          <p:nvPr/>
        </p:nvSpPr>
        <p:spPr>
          <a:xfrm>
            <a:off x="5406644" y="2417459"/>
            <a:ext cx="2100853" cy="5211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>
                <a:solidFill>
                  <a:schemeClr val="tx1"/>
                </a:solidFill>
              </a:rPr>
              <a:t>Matematiskt Problem</a:t>
            </a:r>
          </a:p>
        </p:txBody>
      </p:sp>
      <p:cxnSp>
        <p:nvCxnSpPr>
          <p:cNvPr id="18" name="Rak pil 17"/>
          <p:cNvCxnSpPr>
            <a:stCxn id="16" idx="2"/>
            <a:endCxn id="13" idx="0"/>
          </p:cNvCxnSpPr>
          <p:nvPr/>
        </p:nvCxnSpPr>
        <p:spPr>
          <a:xfrm>
            <a:off x="6457071" y="2938632"/>
            <a:ext cx="0" cy="346027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ruta 18"/>
          <p:cNvSpPr txBox="1"/>
          <p:nvPr/>
        </p:nvSpPr>
        <p:spPr>
          <a:xfrm>
            <a:off x="6496905" y="2973959"/>
            <a:ext cx="12121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dirty="0" smtClean="0"/>
              <a:t>Approximationer</a:t>
            </a:r>
            <a:endParaRPr lang="sv-SE" sz="1100" dirty="0"/>
          </a:p>
        </p:txBody>
      </p:sp>
      <p:sp>
        <p:nvSpPr>
          <p:cNvPr id="20" name="TextBox 18"/>
          <p:cNvSpPr txBox="1"/>
          <p:nvPr/>
        </p:nvSpPr>
        <p:spPr>
          <a:xfrm>
            <a:off x="4752706" y="6270128"/>
            <a:ext cx="3685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[</a:t>
            </a:r>
            <a:r>
              <a:rPr lang="sv-SE" dirty="0" err="1" smtClean="0"/>
              <a:t>Eldén</a:t>
            </a:r>
            <a:r>
              <a:rPr lang="sv-SE" dirty="0" smtClean="0"/>
              <a:t> och </a:t>
            </a:r>
            <a:r>
              <a:rPr lang="sv-SE" dirty="0" err="1" smtClean="0"/>
              <a:t>Wittmeyer</a:t>
            </a:r>
            <a:r>
              <a:rPr lang="sv-SE" dirty="0" smtClean="0"/>
              <a:t>-Koch, 1987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48899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light blue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light blue</Template>
  <TotalTime>1022</TotalTime>
  <Words>885</Words>
  <Application>Microsoft Macintosh PowerPoint</Application>
  <PresentationFormat>On-screen Show (4:3)</PresentationFormat>
  <Paragraphs>155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Calibri</vt:lpstr>
      <vt:lpstr>Cambria Math</vt:lpstr>
      <vt:lpstr>Mangal</vt:lpstr>
      <vt:lpstr>Arial</vt:lpstr>
      <vt:lpstr>KTH_PPT template 2014 light blue</vt:lpstr>
      <vt:lpstr>think-cell Slide</vt:lpstr>
      <vt:lpstr>Matematematisk Modellering</vt:lpstr>
      <vt:lpstr>Innehåll</vt:lpstr>
      <vt:lpstr>Varför matematisk modellering</vt:lpstr>
      <vt:lpstr>Matematisk modellering</vt:lpstr>
      <vt:lpstr>Simulering</vt:lpstr>
      <vt:lpstr>Giltighetsområde och valideringsprocess</vt:lpstr>
      <vt:lpstr>Verifiering av matematiska modeller</vt:lpstr>
      <vt:lpstr>Analytiska modeller</vt:lpstr>
      <vt:lpstr>Numeriska modeller</vt:lpstr>
      <vt:lpstr>Några exempel</vt:lpstr>
      <vt:lpstr>Talrepresentation i en dator</vt:lpstr>
      <vt:lpstr>Heltalsrepresentation i en dator</vt:lpstr>
      <vt:lpstr>Flyttalsrepresentation i en dator</vt:lpstr>
      <vt:lpstr>Flyttalsrepresentation i en dator</vt:lpstr>
      <vt:lpstr>Felkällor</vt:lpstr>
      <vt:lpstr>Felkällor</vt:lpstr>
    </vt:vector>
  </TitlesOfParts>
  <Company>Kungliga Tekniska Högskolan</Company>
  <LinksUpToDate>false</LinksUpToDate>
  <SharedDoc>false</SharedDoc>
  <HyperlinksChanged>false</HyperlinksChanged>
  <AppVersion>15.003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ders Västberg</dc:creator>
  <cp:lastModifiedBy>Microsoft Office User</cp:lastModifiedBy>
  <cp:revision>37</cp:revision>
  <cp:lastPrinted>2013-05-27T09:10:21Z</cp:lastPrinted>
  <dcterms:created xsi:type="dcterms:W3CDTF">2017-08-14T10:31:48Z</dcterms:created>
  <dcterms:modified xsi:type="dcterms:W3CDTF">2017-09-21T15:25:54Z</dcterms:modified>
</cp:coreProperties>
</file>